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64" r:id="rId2"/>
  </p:sldMasterIdLst>
  <p:notesMasterIdLst>
    <p:notesMasterId r:id="rId11"/>
  </p:notesMasterIdLst>
  <p:sldIdLst>
    <p:sldId id="855" r:id="rId3"/>
    <p:sldId id="858" r:id="rId4"/>
    <p:sldId id="869" r:id="rId5"/>
    <p:sldId id="859" r:id="rId6"/>
    <p:sldId id="862" r:id="rId7"/>
    <p:sldId id="863" r:id="rId8"/>
    <p:sldId id="846" r:id="rId9"/>
    <p:sldId id="870" r:id="rId10"/>
  </p:sldIdLst>
  <p:sldSz cx="9144000" cy="5145088"/>
  <p:notesSz cx="6794500" cy="9906000"/>
  <p:custDataLst>
    <p:tags r:id="rId12"/>
  </p:custDataLst>
  <p:defaultTextStyle>
    <a:defPPr>
      <a:defRPr lang="ru-RU"/>
    </a:defPPr>
    <a:lvl1pPr marL="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18C78A5-546A-44C8-AD58-D6193967D57C}">
          <p14:sldIdLst/>
        </p14:section>
        <p14:section name="Приложения" id="{F7690C41-91D2-4278-803E-41CCDDCFCDD2}">
          <p14:sldIdLst>
            <p14:sldId id="855"/>
            <p14:sldId id="858"/>
            <p14:sldId id="869"/>
            <p14:sldId id="859"/>
            <p14:sldId id="862"/>
            <p14:sldId id="863"/>
            <p14:sldId id="846"/>
            <p14:sldId id="870"/>
          </p14:sldIdLst>
        </p14:section>
        <p14:section name="Приложение" id="{1BD5B4CE-C90D-45A2-9618-97E3B6A481BC}">
          <p14:sldIdLst/>
        </p14:section>
        <p14:section name="Удалить" id="{1A127FE9-D94C-43E1-8A1F-09179AC4F8D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80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еева Марина Владимировна" initials="ММВ" lastIdx="4" clrIdx="0"/>
  <p:cmAuthor id="1" name="Лапина Наталья Игоревна" initials="ЛНИ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6D36"/>
    <a:srgbClr val="FF6600"/>
    <a:srgbClr val="4CAF48"/>
    <a:srgbClr val="FF9933"/>
    <a:srgbClr val="C7EFD3"/>
    <a:srgbClr val="000000"/>
    <a:srgbClr val="FF0000"/>
    <a:srgbClr val="CCECFF"/>
    <a:srgbClr val="FFCCCC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003" autoAdjust="0"/>
    <p:restoredTop sz="99886" autoAdjust="0"/>
  </p:normalViewPr>
  <p:slideViewPr>
    <p:cSldViewPr>
      <p:cViewPr varScale="1">
        <p:scale>
          <a:sx n="74" d="100"/>
          <a:sy n="74" d="100"/>
        </p:scale>
        <p:origin x="78" y="420"/>
      </p:cViewPr>
      <p:guideLst>
        <p:guide orient="horz" pos="1621"/>
        <p:guide pos="2880"/>
        <p:guide orient="horz" pos="1801"/>
      </p:guideLst>
    </p:cSldViewPr>
  </p:slideViewPr>
  <p:outlineViewPr>
    <p:cViewPr>
      <p:scale>
        <a:sx n="33" d="100"/>
        <a:sy n="33" d="100"/>
      </p:scale>
      <p:origin x="0" y="750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0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r">
              <a:defRPr sz="1200"/>
            </a:lvl1pPr>
          </a:lstStyle>
          <a:p>
            <a:fld id="{A2F3786B-C69B-47F7-8A4D-D928C61E7A8A}" type="datetimeFigureOut">
              <a:rPr lang="ru-RU" smtClean="0"/>
              <a:t>14.05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1363"/>
            <a:ext cx="6604000" cy="3716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6" tIns="45644" rIns="91286" bIns="4564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985"/>
            <a:ext cx="5435600" cy="4457384"/>
          </a:xfrm>
          <a:prstGeom prst="rect">
            <a:avLst/>
          </a:prstGeom>
        </p:spPr>
        <p:txBody>
          <a:bodyPr vert="horz" lIns="91286" tIns="45644" rIns="91286" bIns="4564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0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r">
              <a:defRPr sz="1200"/>
            </a:lvl1pPr>
          </a:lstStyle>
          <a:p>
            <a:fld id="{E436914B-5603-4966-B479-144F5586E1E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6405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1098341"/>
              </p:ext>
            </p:extLst>
          </p:nvPr>
        </p:nvGraphicFramePr>
        <p:xfrm>
          <a:off x="1591" y="164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4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66" r="2445" b="602"/>
          <a:stretch/>
        </p:blipFill>
        <p:spPr>
          <a:xfrm>
            <a:off x="1" y="-20491"/>
            <a:ext cx="9180512" cy="51824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3110635"/>
            <a:ext cx="6400800" cy="586082"/>
          </a:xfrm>
        </p:spPr>
        <p:txBody>
          <a:bodyPr>
            <a:normAutofit/>
          </a:bodyPr>
          <a:lstStyle>
            <a:lvl1pPr algn="l">
              <a:defRPr sz="1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5" y="3750437"/>
            <a:ext cx="6400800" cy="64127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 descr="Screen Shot 2013-12-24 at 12.16.45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5" y="219432"/>
            <a:ext cx="2457291" cy="788803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0" y="1152122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529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15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6178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4853"/>
            <a:ext cx="2776904" cy="87180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300046" y="204851"/>
            <a:ext cx="4718538" cy="4391190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22032" y="1076659"/>
            <a:ext cx="2776904" cy="351938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9986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4420" y="3601561"/>
            <a:ext cx="5064369" cy="425185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654420" y="459725"/>
            <a:ext cx="5064369" cy="3087053"/>
          </a:xfrm>
        </p:spPr>
        <p:txBody>
          <a:bodyPr/>
          <a:lstStyle>
            <a:lvl1pPr marL="0" indent="0">
              <a:buNone/>
              <a:defRPr sz="2700"/>
            </a:lvl1pPr>
            <a:lvl2pPr marL="389536" indent="0">
              <a:buNone/>
              <a:defRPr sz="2400"/>
            </a:lvl2pPr>
            <a:lvl3pPr marL="779071" indent="0">
              <a:buNone/>
              <a:defRPr sz="2000"/>
            </a:lvl3pPr>
            <a:lvl4pPr marL="1168607" indent="0">
              <a:buNone/>
              <a:defRPr sz="1700"/>
            </a:lvl4pPr>
            <a:lvl5pPr marL="1558140" indent="0">
              <a:buNone/>
              <a:defRPr sz="1700"/>
            </a:lvl5pPr>
            <a:lvl6pPr marL="1947676" indent="0">
              <a:buNone/>
              <a:defRPr sz="1700"/>
            </a:lvl6pPr>
            <a:lvl7pPr marL="2337211" indent="0">
              <a:buNone/>
              <a:defRPr sz="1700"/>
            </a:lvl7pPr>
            <a:lvl8pPr marL="2726747" indent="0">
              <a:buNone/>
              <a:defRPr sz="1700"/>
            </a:lvl8pPr>
            <a:lvl9pPr marL="3116282" indent="0">
              <a:buNone/>
              <a:defRPr sz="1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54420" y="4026746"/>
            <a:ext cx="5064369" cy="60383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06660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44487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076952" y="295366"/>
            <a:ext cx="1730619" cy="420658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83629" y="295366"/>
            <a:ext cx="5052646" cy="420658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9653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6688856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495576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956899" y="295366"/>
            <a:ext cx="7501303" cy="420658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907659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900114" y="1005886"/>
            <a:ext cx="7689850" cy="3496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899595" y="681751"/>
            <a:ext cx="5603875" cy="270113"/>
          </a:xfrm>
        </p:spPr>
        <p:txBody>
          <a:bodyPr/>
          <a:lstStyle>
            <a:lvl1pPr>
              <a:defRPr sz="1500" b="1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210634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8736"/>
            <a:ext cx="2133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8736"/>
            <a:ext cx="2895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4" y="4930802"/>
            <a:ext cx="442392" cy="234830"/>
          </a:xfrm>
          <a:prstGeom prst="rect">
            <a:avLst/>
          </a:prstGeom>
        </p:spPr>
        <p:txBody>
          <a:bodyPr lIns="91408" tIns="45704" rIns="91408" bIns="45704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8502E6E0-42AE-4DC2-A9DE-B4070DCB9E1B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881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46426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2" y="4845007"/>
            <a:ext cx="241953" cy="274722"/>
          </a:xfrm>
          <a:prstGeom prst="roundRect">
            <a:avLst/>
          </a:prstGeom>
          <a:solidFill>
            <a:srgbClr val="4CAF48"/>
          </a:solidFill>
          <a:effectLst>
            <a:softEdge rad="31750"/>
          </a:effectLst>
        </p:spPr>
        <p:txBody>
          <a:bodyPr vert="horz" lIns="0" tIns="45704" rIns="0" bIns="45704" rtlCol="0" anchor="ctr"/>
          <a:lstStyle>
            <a:lvl1pPr algn="ctr">
              <a:defRPr sz="900" b="1" i="1">
                <a:solidFill>
                  <a:schemeClr val="bg1"/>
                </a:solidFill>
                <a:latin typeface="+mj-lt"/>
              </a:defRPr>
            </a:lvl1pPr>
          </a:lstStyle>
          <a:p>
            <a:fld id="{575FED36-2639-4BD6-A414-DA56354A75E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000" y="270001"/>
            <a:ext cx="7040076" cy="504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5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31042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08" tIns="45704" rIns="91408" bIns="45704"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08" tIns="45704" rIns="91408" bIns="45704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50548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33048" y="1598315"/>
            <a:ext cx="7174523" cy="1102859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66092" y="2915550"/>
            <a:ext cx="5908431" cy="1314856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389536" indent="0" algn="ctr">
              <a:buNone/>
              <a:defRPr/>
            </a:lvl2pPr>
            <a:lvl3pPr marL="779071" indent="0" algn="ctr">
              <a:buNone/>
              <a:defRPr/>
            </a:lvl3pPr>
            <a:lvl4pPr marL="1168607" indent="0" algn="ctr">
              <a:buNone/>
              <a:defRPr/>
            </a:lvl4pPr>
            <a:lvl5pPr marL="1558140" indent="0" algn="ctr">
              <a:buNone/>
              <a:defRPr/>
            </a:lvl5pPr>
            <a:lvl6pPr marL="1947676" indent="0" algn="ctr">
              <a:buNone/>
              <a:defRPr/>
            </a:lvl6pPr>
            <a:lvl7pPr marL="2337211" indent="0" algn="ctr">
              <a:buNone/>
              <a:defRPr/>
            </a:lvl7pPr>
            <a:lvl8pPr marL="2726747" indent="0" algn="ctr">
              <a:buNone/>
              <a:defRPr/>
            </a:lvl8pPr>
            <a:lvl9pPr marL="3116282" indent="0" algn="ctr">
              <a:buNone/>
              <a:defRPr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699544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700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7099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6750" y="3306196"/>
            <a:ext cx="7174523" cy="1021872"/>
          </a:xfrm>
        </p:spPr>
        <p:txBody>
          <a:bodyPr/>
          <a:lstStyle>
            <a:lvl1pPr algn="l">
              <a:defRPr sz="3400" b="1" cap="all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66750" y="2180708"/>
            <a:ext cx="7174523" cy="1125488"/>
          </a:xfrm>
        </p:spPr>
        <p:txBody>
          <a:bodyPr anchor="b"/>
          <a:lstStyle>
            <a:lvl1pPr marL="0" indent="0">
              <a:buNone/>
              <a:defRPr sz="1700" baseline="0">
                <a:latin typeface="Arial" pitchFamily="34" charset="0"/>
              </a:defRPr>
            </a:lvl1pPr>
            <a:lvl2pPr marL="389536" indent="0">
              <a:buNone/>
              <a:defRPr sz="1500"/>
            </a:lvl2pPr>
            <a:lvl3pPr marL="779071" indent="0">
              <a:buNone/>
              <a:defRPr sz="1400"/>
            </a:lvl3pPr>
            <a:lvl4pPr marL="1168607" indent="0">
              <a:buNone/>
              <a:defRPr sz="1200"/>
            </a:lvl4pPr>
            <a:lvl5pPr marL="1558140" indent="0">
              <a:buNone/>
              <a:defRPr sz="1200"/>
            </a:lvl5pPr>
            <a:lvl6pPr marL="1947676" indent="0">
              <a:buNone/>
              <a:defRPr sz="1200"/>
            </a:lvl6pPr>
            <a:lvl7pPr marL="2337211" indent="0">
              <a:buNone/>
              <a:defRPr sz="1200"/>
            </a:lvl7pPr>
            <a:lvl8pPr marL="2726747" indent="0">
              <a:buNone/>
              <a:defRPr sz="1200"/>
            </a:lvl8pPr>
            <a:lvl9pPr marL="3116282" indent="0">
              <a:buNone/>
              <a:defRPr sz="12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135112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83628" y="1283890"/>
            <a:ext cx="3390900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15206" y="1283890"/>
            <a:ext cx="3392365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9790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6043"/>
            <a:ext cx="7596554" cy="85751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22031" y="1151690"/>
            <a:ext cx="3729404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2031" y="1631661"/>
            <a:ext cx="3729404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287716" y="1151690"/>
            <a:ext cx="3730869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287716" y="1631661"/>
            <a:ext cx="3730869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778956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390704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26338947"/>
              </p:ext>
            </p:extLst>
          </p:nvPr>
        </p:nvGraphicFramePr>
        <p:xfrm>
          <a:off x="1591" y="164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4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7067" y="8521"/>
            <a:ext cx="7040076" cy="1024783"/>
          </a:xfrm>
          <a:prstGeom prst="rect">
            <a:avLst/>
          </a:prstGeom>
        </p:spPr>
        <p:txBody>
          <a:bodyPr vert="horz" lIns="0" tIns="45704" rIns="91408" bIns="45704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7067" y="1283752"/>
            <a:ext cx="8469002" cy="3526800"/>
          </a:xfrm>
          <a:prstGeom prst="rect">
            <a:avLst/>
          </a:prstGeom>
        </p:spPr>
        <p:txBody>
          <a:bodyPr vert="horz" lIns="0" tIns="45704" rIns="91408" bIns="45704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625256" lvl="3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dirty="0"/>
              <a:t>Fifth level</a:t>
            </a:r>
          </a:p>
        </p:txBody>
      </p:sp>
      <p:pic>
        <p:nvPicPr>
          <p:cNvPr id="9" name="Picture 8" descr="Screen Shot 2013-12-24 at 12.16.45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9426" y="241640"/>
            <a:ext cx="1739667" cy="558442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>
          <a:xfrm>
            <a:off x="0" y="105895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2" y="4845007"/>
            <a:ext cx="241953" cy="274722"/>
          </a:xfrm>
          <a:prstGeom prst="rect">
            <a:avLst/>
          </a:prstGeom>
        </p:spPr>
        <p:txBody>
          <a:bodyPr vert="horz" lIns="0" tIns="45704" rIns="0" bIns="45704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026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4" r:id="rId3"/>
  </p:sldLayoutIdLst>
  <p:hf hdr="0" ftr="0" dt="0"/>
  <p:txStyles>
    <p:titleStyle>
      <a:lvl1pPr marL="0" indent="0" algn="l" defTabSz="457040" rtl="0" eaLnBrk="1" latinLnBrk="0" hangingPunct="1">
        <a:spcBef>
          <a:spcPct val="0"/>
        </a:spcBef>
        <a:buNone/>
        <a:defRPr sz="2100" b="1" kern="1200">
          <a:solidFill>
            <a:srgbClr val="0B592A"/>
          </a:solidFill>
          <a:latin typeface="+mj-lt"/>
          <a:ea typeface="+mj-ea"/>
          <a:cs typeface="+mj-cs"/>
        </a:defRPr>
      </a:lvl1pPr>
    </p:titleStyle>
    <p:bodyStyle>
      <a:lvl1pPr marL="180912" indent="-180912" algn="l" defTabSz="45704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kern="1200">
          <a:solidFill>
            <a:srgbClr val="464648"/>
          </a:solidFill>
          <a:latin typeface="+mj-lt"/>
          <a:ea typeface="+mn-ea"/>
          <a:cs typeface="+mn-cs"/>
        </a:defRPr>
      </a:lvl1pPr>
      <a:lvl2pPr marL="355476" indent="-174565" algn="l" defTabSz="457040" rtl="0" eaLnBrk="1" latinLnBrk="0" hangingPunct="1">
        <a:spcBef>
          <a:spcPct val="20000"/>
        </a:spcBef>
        <a:buFont typeface="Arial"/>
        <a:buChar char="–"/>
        <a:defRPr sz="1200" kern="1200">
          <a:solidFill>
            <a:srgbClr val="464648"/>
          </a:solidFill>
          <a:latin typeface="+mj-lt"/>
          <a:ea typeface="+mn-ea"/>
          <a:cs typeface="+mn-cs"/>
        </a:defRPr>
      </a:lvl2pPr>
      <a:lvl3pPr marL="450692" indent="-95217" algn="l" defTabSz="457040" rtl="0" eaLnBrk="1" latinLnBrk="0" hangingPunct="1">
        <a:spcBef>
          <a:spcPct val="20000"/>
        </a:spcBef>
        <a:buFont typeface="Wingdings" panose="05000000000000000000" pitchFamily="2" charset="2"/>
        <a:buChar char="§"/>
        <a:defRPr lang="en-US" sz="1200" kern="1200" dirty="0">
          <a:solidFill>
            <a:srgbClr val="464648"/>
          </a:solidFill>
          <a:latin typeface="+mj-lt"/>
          <a:ea typeface="+mn-ea"/>
          <a:cs typeface="+mn-cs"/>
        </a:defRPr>
      </a:lvl3pPr>
      <a:lvl4pPr marL="625256" indent="-174565" algn="l" defTabSz="457040" rtl="0" eaLnBrk="1" latinLnBrk="0" hangingPunct="1">
        <a:spcBef>
          <a:spcPct val="20000"/>
        </a:spcBef>
        <a:buFont typeface="Arial"/>
        <a:buChar char="–"/>
        <a:tabLst>
          <a:tab pos="537975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4pPr>
      <a:lvl5pPr marL="450692" indent="-95217" algn="l" defTabSz="457040" rtl="0" eaLnBrk="1" latinLnBrk="0" hangingPunct="1">
        <a:spcBef>
          <a:spcPct val="20000"/>
        </a:spcBef>
        <a:buFont typeface="Arial"/>
        <a:buChar char="•"/>
        <a:tabLst>
          <a:tab pos="537975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5pPr>
      <a:lvl6pPr marL="251372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6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0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4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0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4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8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2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4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3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15866" y="295368"/>
            <a:ext cx="5603631" cy="504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866" y="920637"/>
            <a:ext cx="7829550" cy="3596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07" tIns="38954" rIns="77907" bIns="389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ext styles</a:t>
            </a:r>
          </a:p>
          <a:p>
            <a:pPr lvl="1"/>
            <a:r>
              <a:rPr lang="ru-RU" altLang="ru-RU"/>
              <a:t>Second level</a:t>
            </a:r>
          </a:p>
          <a:p>
            <a:pPr lvl="2"/>
            <a:r>
              <a:rPr lang="ru-RU" altLang="ru-RU"/>
              <a:t>Third level</a:t>
            </a:r>
          </a:p>
          <a:p>
            <a:pPr lvl="3"/>
            <a:r>
              <a:rPr lang="ru-RU" altLang="ru-RU"/>
              <a:t>Fourth level</a:t>
            </a:r>
          </a:p>
          <a:p>
            <a:pPr lvl="4"/>
            <a:r>
              <a:rPr lang="ru-RU" altLang="ru-RU"/>
              <a:t>Fifth level</a:t>
            </a:r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36384" y="761045"/>
            <a:ext cx="7809034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2" y="761045"/>
            <a:ext cx="652097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2" name="Picture 15" descr="logo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546" y="275120"/>
            <a:ext cx="1872762" cy="372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3" name="Group 13"/>
          <p:cNvGrpSpPr>
            <a:grpSpLocks/>
          </p:cNvGrpSpPr>
          <p:nvPr/>
        </p:nvGrpSpPr>
        <p:grpSpPr bwMode="auto">
          <a:xfrm>
            <a:off x="8096250" y="4682984"/>
            <a:ext cx="1047750" cy="181031"/>
            <a:chOff x="5100" y="3932"/>
            <a:chExt cx="660" cy="152"/>
          </a:xfrm>
        </p:grpSpPr>
        <p:sp>
          <p:nvSpPr>
            <p:cNvPr id="1035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</p:spPr>
          <p:txBody>
            <a:bodyPr wrap="none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sz="2000" b="0" dirty="0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036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</p:spPr>
          <p:txBody>
            <a:bodyPr wrap="none" lIns="0" tIns="0" rIns="0" bIns="0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b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034" name="Rectangle 19"/>
          <p:cNvSpPr>
            <a:spLocks noChangeArrowheads="1"/>
          </p:cNvSpPr>
          <p:nvPr/>
        </p:nvSpPr>
        <p:spPr bwMode="auto">
          <a:xfrm>
            <a:off x="8197362" y="4669882"/>
            <a:ext cx="641838" cy="171503"/>
          </a:xfrm>
          <a:prstGeom prst="rect">
            <a:avLst/>
          </a:prstGeom>
          <a:noFill/>
          <a:ln>
            <a:noFill/>
          </a:ln>
        </p:spPr>
        <p:txBody>
          <a:bodyPr lIns="77907" tIns="38954" rIns="77907" bIns="38954"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EAECCD-03A5-4D0E-A27A-FF0C0CE03FB9}" type="slidenum">
              <a:rPr lang="ru-RU" altLang="ru-RU" sz="1000" smtClean="0">
                <a:solidFill>
                  <a:srgbClr val="000000"/>
                </a:solidFill>
                <a:ea typeface="ヒラギノ角ゴ Pro W3"/>
                <a:cs typeface="ヒラギノ角ゴ Pro W3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1000" b="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991514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3" r:id="rId16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389536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779071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168607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558140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292152" indent="-292152" algn="l" rtl="0" eaLnBrk="0" fontAlgn="base" hangingPunct="0">
        <a:spcBef>
          <a:spcPts val="331"/>
        </a:spcBef>
        <a:spcAft>
          <a:spcPct val="0"/>
        </a:spcAft>
        <a:buFont typeface="Wingdings" pitchFamily="2" charset="2"/>
        <a:buChar char="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32994" indent="-243461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2pPr>
      <a:lvl3pPr marL="973838" indent="-194768" algn="l" rtl="0" eaLnBrk="0" fontAlgn="base" hangingPunct="0">
        <a:spcBef>
          <a:spcPts val="331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1330912" indent="-194768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1687987" indent="-194768" algn="l" rtl="0" eaLnBrk="0" fontAlgn="base" hangingPunct="0">
        <a:spcBef>
          <a:spcPts val="331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</a:defRPr>
      </a:lvl5pPr>
      <a:lvl6pPr marL="2077520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6pPr>
      <a:lvl7pPr marL="2467056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7pPr>
      <a:lvl8pPr marL="2856591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8pPr>
      <a:lvl9pPr marL="3246127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3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7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60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14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67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21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74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282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ЕКТ АГЕНТСКАЯ СЕТ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1</a:t>
            </a:fld>
            <a:endParaRPr lang="ru-RU"/>
          </a:p>
        </p:txBody>
      </p:sp>
      <p:sp>
        <p:nvSpPr>
          <p:cNvPr id="5" name="Объект 4"/>
          <p:cNvSpPr txBox="1">
            <a:spLocks/>
          </p:cNvSpPr>
          <p:nvPr/>
        </p:nvSpPr>
        <p:spPr>
          <a:xfrm>
            <a:off x="583409" y="1820660"/>
            <a:ext cx="5928698" cy="2539124"/>
          </a:xfrm>
          <a:prstGeom prst="rect">
            <a:avLst/>
          </a:prstGeom>
        </p:spPr>
        <p:txBody>
          <a:bodyPr vert="horz" wrap="square" lIns="0" tIns="45704" rIns="91408" bIns="45704" rtlCol="0">
            <a:spAutoFit/>
          </a:bodyPr>
          <a:lstStyle>
            <a:lvl1pPr marL="180912" indent="-180912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1pPr>
            <a:lvl2pPr marL="35547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2pPr>
            <a:lvl3pPr marL="450692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lang="en-US" sz="1200" kern="1200" dirty="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3pPr>
            <a:lvl4pPr marL="62525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4pPr>
            <a:lvl5pPr marL="450692" indent="-95217" algn="l" defTabSz="457040" rtl="0" eaLnBrk="1" latinLnBrk="0" hangingPunct="1">
              <a:spcBef>
                <a:spcPct val="20000"/>
              </a:spcBef>
              <a:buFont typeface="Arial"/>
              <a:buChar char="•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5pPr>
            <a:lvl6pPr marL="251372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Агентская сеть – Партнеры Сбербанка, предоставляющие в своих торговых точках основные банковские услуги: </a:t>
            </a:r>
          </a:p>
          <a:p>
            <a:pPr marL="0" indent="0" defTabSz="914400">
              <a:buNone/>
            </a:pPr>
            <a:r>
              <a:rPr lang="ru-RU" sz="1500" b="1" dirty="0">
                <a:solidFill>
                  <a:srgbClr val="1E6D36"/>
                </a:solidFill>
                <a:latin typeface="+mn-lt"/>
              </a:rPr>
              <a:t>снятие наличных, прием платежей и т.д.* </a:t>
            </a:r>
            <a:endParaRPr lang="ru-RU" sz="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Реализуется с помощью специального программного обеспечения на кассах </a:t>
            </a:r>
            <a:r>
              <a:rPr lang="ru-RU" sz="1500" dirty="0" err="1">
                <a:solidFill>
                  <a:schemeClr val="tx1"/>
                </a:solidFill>
                <a:latin typeface="+mn-lt"/>
              </a:rPr>
              <a:t>Эвотор</a:t>
            </a:r>
            <a:endParaRPr lang="ru-RU" sz="1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Банк оказывает технологическую, методологическую и маркетинговую поддержку предпринимателям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Для начала сотрудничества предприниматель подписывает с банком договор банковского платежного агента</a:t>
            </a:r>
          </a:p>
        </p:txBody>
      </p:sp>
      <p:sp>
        <p:nvSpPr>
          <p:cNvPr id="7" name="Объект 4"/>
          <p:cNvSpPr txBox="1">
            <a:spLocks/>
          </p:cNvSpPr>
          <p:nvPr/>
        </p:nvSpPr>
        <p:spPr>
          <a:xfrm>
            <a:off x="560300" y="1220528"/>
            <a:ext cx="8259724" cy="600132"/>
          </a:xfrm>
          <a:prstGeom prst="rect">
            <a:avLst/>
          </a:prstGeom>
        </p:spPr>
        <p:txBody>
          <a:bodyPr vert="horz" wrap="square" lIns="0" tIns="45704" rIns="91408" bIns="45704" rtlCol="0">
            <a:spAutoFit/>
          </a:bodyPr>
          <a:lstStyle>
            <a:lvl1pPr marL="180912" indent="-180912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1pPr>
            <a:lvl2pPr marL="35547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2pPr>
            <a:lvl3pPr marL="450692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lang="en-US" sz="1200" kern="1200" dirty="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3pPr>
            <a:lvl4pPr marL="62525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4pPr>
            <a:lvl5pPr marL="450692" indent="-95217" algn="l" defTabSz="457040" rtl="0" eaLnBrk="1" latinLnBrk="0" hangingPunct="1">
              <a:spcBef>
                <a:spcPct val="20000"/>
              </a:spcBef>
              <a:buFont typeface="Arial"/>
              <a:buChar char="•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5pPr>
            <a:lvl6pPr marL="251372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b="1" dirty="0">
                <a:solidFill>
                  <a:srgbClr val="1E6D36"/>
                </a:solidFill>
                <a:latin typeface="+mn-lt"/>
              </a:rPr>
              <a:t>ЦЕЛЬ -  Увеличить доступность основных банковских услуг для удаленных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b="1" dirty="0">
                <a:solidFill>
                  <a:srgbClr val="1E6D36"/>
                </a:solidFill>
                <a:latin typeface="+mn-lt"/>
              </a:rPr>
              <a:t>               малых населенных пунктов </a:t>
            </a:r>
            <a:endParaRPr lang="ru-RU" sz="1500" dirty="0">
              <a:solidFill>
                <a:srgbClr val="1E6D36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6792" y="1708448"/>
            <a:ext cx="2163970" cy="217886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583409" y="4537230"/>
            <a:ext cx="29662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ru-RU" sz="1400" b="1" i="1" dirty="0">
                <a:solidFill>
                  <a:srgbClr val="1E6D36"/>
                </a:solidFill>
              </a:rPr>
              <a:t>* перечень услуг пополняется</a:t>
            </a:r>
          </a:p>
        </p:txBody>
      </p:sp>
    </p:spTree>
    <p:extLst>
      <p:ext uri="{BB962C8B-B14F-4D97-AF65-F5344CB8AC3E}">
        <p14:creationId xmlns:p14="http://schemas.microsoft.com/office/powerpoint/2010/main" val="44286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Прямая со стрелкой 49"/>
          <p:cNvCxnSpPr/>
          <p:nvPr/>
        </p:nvCxnSpPr>
        <p:spPr>
          <a:xfrm flipV="1">
            <a:off x="6409514" y="3004592"/>
            <a:ext cx="0" cy="11184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>
            <a:stCxn id="25" idx="3"/>
          </p:cNvCxnSpPr>
          <p:nvPr/>
        </p:nvCxnSpPr>
        <p:spPr>
          <a:xfrm>
            <a:off x="2487736" y="4354047"/>
            <a:ext cx="3236392" cy="137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>
            <a:stCxn id="24" idx="3"/>
          </p:cNvCxnSpPr>
          <p:nvPr/>
        </p:nvCxnSpPr>
        <p:spPr>
          <a:xfrm>
            <a:off x="2487736" y="3642266"/>
            <a:ext cx="328807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ЕКТ АГЕНТСКАЯ СЕТЬ</a:t>
            </a:r>
            <a:br>
              <a:rPr lang="ru-RU" dirty="0"/>
            </a:br>
            <a:r>
              <a:rPr lang="ru-RU" sz="2000" dirty="0">
                <a:solidFill>
                  <a:srgbClr val="1E6D36"/>
                </a:solidFill>
              </a:rPr>
              <a:t> снятие наличных</a:t>
            </a:r>
            <a:r>
              <a:rPr lang="ru-RU" sz="2000" dirty="0"/>
              <a:t>  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2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8319" y="1636440"/>
            <a:ext cx="914985" cy="128024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6690" y="3184517"/>
            <a:ext cx="1621430" cy="147076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600" y="1597078"/>
            <a:ext cx="1540089" cy="130407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191592" y="1258525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Клиенты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436096" y="1258525"/>
            <a:ext cx="1512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Агент Банка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2095" y="1636440"/>
            <a:ext cx="746169" cy="1264710"/>
          </a:xfrm>
          <a:prstGeom prst="rect">
            <a:avLst/>
          </a:prstGeom>
        </p:spPr>
      </p:pic>
      <p:cxnSp>
        <p:nvCxnSpPr>
          <p:cNvPr id="19" name="Прямая со стрелкой 18"/>
          <p:cNvCxnSpPr/>
          <p:nvPr/>
        </p:nvCxnSpPr>
        <p:spPr>
          <a:xfrm>
            <a:off x="3059832" y="2068488"/>
            <a:ext cx="194421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>
            <a:off x="3059832" y="2546200"/>
            <a:ext cx="187220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874015" y="1698575"/>
            <a:ext cx="2444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Запрос выдачи наличных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139484" y="2212504"/>
            <a:ext cx="1853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Выдача наличных</a:t>
            </a:r>
          </a:p>
        </p:txBody>
      </p:sp>
      <p:sp>
        <p:nvSpPr>
          <p:cNvPr id="24" name="Rectangle 58"/>
          <p:cNvSpPr>
            <a:spLocks noChangeArrowheads="1"/>
          </p:cNvSpPr>
          <p:nvPr/>
        </p:nvSpPr>
        <p:spPr bwMode="auto">
          <a:xfrm>
            <a:off x="1043608" y="3364632"/>
            <a:ext cx="1444128" cy="555268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>
                <a:latin typeface="Century Schoolbook" panose="02040604050505020304" pitchFamily="18" charset="0"/>
              </a:rPr>
              <a:t>Списание денег с карты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5" name="Rectangle 58"/>
          <p:cNvSpPr>
            <a:spLocks noChangeArrowheads="1"/>
          </p:cNvSpPr>
          <p:nvPr/>
        </p:nvSpPr>
        <p:spPr bwMode="auto">
          <a:xfrm>
            <a:off x="1048052" y="4083795"/>
            <a:ext cx="1439684" cy="540503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>
                <a:latin typeface="Century Schoolbook" panose="02040604050505020304" pitchFamily="18" charset="0"/>
              </a:rPr>
              <a:t>Учет в выписке, смс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auto">
          <a:xfrm>
            <a:off x="5724128" y="3350834"/>
            <a:ext cx="1370772" cy="580165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>
                <a:latin typeface="Century Schoolbook" panose="02040604050505020304" pitchFamily="18" charset="0"/>
              </a:rPr>
              <a:t>Зачисление суммы выдачи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auto">
          <a:xfrm>
            <a:off x="5724128" y="4123054"/>
            <a:ext cx="1370772" cy="533988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>
                <a:latin typeface="Century Schoolbook" panose="02040604050505020304" pitchFamily="18" charset="0"/>
              </a:rPr>
              <a:t>Зачисление комиссии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cxnSp>
        <p:nvCxnSpPr>
          <p:cNvPr id="31" name="Прямая со стрелкой 30"/>
          <p:cNvCxnSpPr>
            <a:stCxn id="24" idx="0"/>
          </p:cNvCxnSpPr>
          <p:nvPr/>
        </p:nvCxnSpPr>
        <p:spPr>
          <a:xfrm flipV="1">
            <a:off x="1765672" y="3076600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>
            <a:stCxn id="24" idx="2"/>
            <a:endCxn id="25" idx="0"/>
          </p:cNvCxnSpPr>
          <p:nvPr/>
        </p:nvCxnSpPr>
        <p:spPr>
          <a:xfrm>
            <a:off x="1765672" y="3919900"/>
            <a:ext cx="2222" cy="16389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7198610" y="1981671"/>
            <a:ext cx="1080120" cy="76944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Ежедневная сверка итогов с Банком</a:t>
            </a:r>
          </a:p>
        </p:txBody>
      </p:sp>
    </p:spTree>
    <p:extLst>
      <p:ext uri="{BB962C8B-B14F-4D97-AF65-F5344CB8AC3E}">
        <p14:creationId xmlns:p14="http://schemas.microsoft.com/office/powerpoint/2010/main" val="22053921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47664" y="2572544"/>
            <a:ext cx="1145311" cy="1085031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3</a:t>
            </a:fld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юсы для участников проекта Агентская сет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187624" y="2212504"/>
            <a:ext cx="360040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H="1">
            <a:off x="2692976" y="2164738"/>
            <a:ext cx="438864" cy="40780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81224" y="1386538"/>
            <a:ext cx="15446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величение потока клиентов - рост продаж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95536" y="2819362"/>
            <a:ext cx="8640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Агент Банк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555776" y="1393344"/>
            <a:ext cx="187220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возможно снижение ставки по договору </a:t>
            </a:r>
            <a:r>
              <a:rPr lang="ru-RU" sz="1400" dirty="0" err="1"/>
              <a:t>Эквайринга</a:t>
            </a:r>
            <a:r>
              <a:rPr lang="ru-RU" sz="1400" dirty="0"/>
              <a:t> </a:t>
            </a:r>
          </a:p>
        </p:txBody>
      </p:sp>
      <p:cxnSp>
        <p:nvCxnSpPr>
          <p:cNvPr id="18" name="Прямая соединительная линия 17"/>
          <p:cNvCxnSpPr>
            <a:stCxn id="5" idx="3"/>
          </p:cNvCxnSpPr>
          <p:nvPr/>
        </p:nvCxnSpPr>
        <p:spPr>
          <a:xfrm flipV="1">
            <a:off x="2692975" y="3115059"/>
            <a:ext cx="510873" cy="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3249051" y="2638005"/>
            <a:ext cx="12778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комиссии и бонусы за проведение операций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2640119" y="3735377"/>
            <a:ext cx="392635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H="1">
            <a:off x="1259632" y="3741707"/>
            <a:ext cx="288032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250809" y="4082589"/>
            <a:ext cx="23049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никальный сервис - конкурентное преимущество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152" y="2561492"/>
            <a:ext cx="1134568" cy="112056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261463" y="2819362"/>
            <a:ext cx="1334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Сельские жители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6588224" y="2093439"/>
            <a:ext cx="1" cy="40616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6935449" y="3915397"/>
            <a:ext cx="14640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знакомство с новыми технологиями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607756" y="1570219"/>
            <a:ext cx="26553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доступность основных банковских услуг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5173293" y="3915397"/>
            <a:ext cx="13405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повышение финансовой грамотности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384948" y="4209008"/>
            <a:ext cx="19258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зачисление денег на р/</a:t>
            </a:r>
            <a:r>
              <a:rPr lang="ru-RU" sz="1400" dirty="0" err="1"/>
              <a:t>сч</a:t>
            </a:r>
            <a:r>
              <a:rPr lang="ru-RU" sz="1400" dirty="0"/>
              <a:t> в режиме 24/7</a:t>
            </a:r>
          </a:p>
        </p:txBody>
      </p:sp>
      <p:cxnSp>
        <p:nvCxnSpPr>
          <p:cNvPr id="32" name="Прямая соединительная линия 31"/>
          <p:cNvCxnSpPr>
            <a:endCxn id="27" idx="0"/>
          </p:cNvCxnSpPr>
          <p:nvPr/>
        </p:nvCxnSpPr>
        <p:spPr>
          <a:xfrm flipH="1">
            <a:off x="5843591" y="3657575"/>
            <a:ext cx="240577" cy="25782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6935449" y="3637083"/>
            <a:ext cx="326014" cy="27831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887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ходы и расходы Банковского платежного аген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4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834535" y="1730185"/>
            <a:ext cx="372213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Комиссия Агента </a:t>
            </a:r>
            <a:r>
              <a:rPr lang="ru-RU" sz="1200" dirty="0"/>
              <a:t>(от суммы операции):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i="1" dirty="0"/>
              <a:t>выдача наличных   – 0,01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i="1" dirty="0"/>
              <a:t>платежи   –  0,25%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511660" y="1119774"/>
            <a:ext cx="1944216" cy="50220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ДОХОДЫ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652120" y="1119773"/>
            <a:ext cx="1944216" cy="50220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РАСХОДЫ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4716016" y="1518651"/>
            <a:ext cx="0" cy="2850237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539552" y="1708448"/>
            <a:ext cx="3888432" cy="1008112"/>
          </a:xfrm>
          <a:prstGeom prst="rect">
            <a:avLst/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39552" y="2779585"/>
            <a:ext cx="3888432" cy="801071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Мотивационная программа: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400" i="1" dirty="0">
                <a:solidFill>
                  <a:schemeClr val="tx1"/>
                </a:solidFill>
              </a:rPr>
              <a:t>Бонус за сотрудничество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400" i="1" dirty="0">
                <a:solidFill>
                  <a:schemeClr val="tx1"/>
                </a:solidFill>
              </a:rPr>
              <a:t>Бонус за результат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39552" y="3645171"/>
            <a:ext cx="3888432" cy="43840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Специальная ставка </a:t>
            </a:r>
            <a:r>
              <a:rPr lang="ru-RU" sz="1600" dirty="0" err="1">
                <a:solidFill>
                  <a:schemeClr val="tx1"/>
                </a:solidFill>
              </a:rPr>
              <a:t>Эквайринга</a:t>
            </a:r>
            <a:r>
              <a:rPr lang="ru-RU" sz="1600" dirty="0">
                <a:solidFill>
                  <a:schemeClr val="tx1"/>
                </a:solidFill>
              </a:rPr>
              <a:t>  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026333" y="1840758"/>
            <a:ext cx="3456384" cy="58679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Оплата налогов с доходов Агента 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39552" y="4148090"/>
            <a:ext cx="3888432" cy="745228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Дополнительная выручка*: </a:t>
            </a:r>
          </a:p>
          <a:p>
            <a:pPr algn="ctr"/>
            <a:r>
              <a:rPr lang="ru-RU" sz="1400" i="1" dirty="0">
                <a:solidFill>
                  <a:schemeClr val="tx1"/>
                </a:solidFill>
              </a:rPr>
              <a:t>Рост выручки от текущих клиентов – 5%</a:t>
            </a:r>
          </a:p>
          <a:p>
            <a:pPr algn="ctr"/>
            <a:r>
              <a:rPr lang="ru-RU" sz="1400" i="1" dirty="0">
                <a:solidFill>
                  <a:schemeClr val="tx1"/>
                </a:solidFill>
              </a:rPr>
              <a:t>Рост выручки от новых клиентов – 5%  </a:t>
            </a: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034716" y="2646334"/>
            <a:ext cx="3456384" cy="58679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Оплата за аренду кассы </a:t>
            </a:r>
            <a:r>
              <a:rPr lang="ru-RU" sz="1600" dirty="0" err="1">
                <a:solidFill>
                  <a:schemeClr val="tx1"/>
                </a:solidFill>
              </a:rPr>
              <a:t>Эвотор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ru-RU" sz="1400" i="1" dirty="0">
                <a:solidFill>
                  <a:schemeClr val="tx1"/>
                </a:solidFill>
              </a:rPr>
              <a:t>(при необходимости)</a:t>
            </a: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034716" y="3451910"/>
            <a:ext cx="3456384" cy="585740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Оплата за РКО и </a:t>
            </a:r>
            <a:r>
              <a:rPr lang="ru-RU" sz="1600" dirty="0" err="1">
                <a:solidFill>
                  <a:schemeClr val="tx1"/>
                </a:solidFill>
              </a:rPr>
              <a:t>Эквайринг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endParaRPr lang="ru-RU" sz="1200" i="1" dirty="0">
              <a:solidFill>
                <a:schemeClr val="tx1"/>
              </a:solidFill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716016" y="4368888"/>
            <a:ext cx="2561127" cy="1098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4644008" y="4588768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>
                <a:solidFill>
                  <a:srgbClr val="1E6D36"/>
                </a:solidFill>
              </a:rPr>
              <a:t>*Оценка по  данным пилота 2018 года</a:t>
            </a:r>
          </a:p>
        </p:txBody>
      </p:sp>
    </p:spTree>
    <p:extLst>
      <p:ext uri="{BB962C8B-B14F-4D97-AF65-F5344CB8AC3E}">
        <p14:creationId xmlns:p14="http://schemas.microsoft.com/office/powerpoint/2010/main" val="3713197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3330" y="3222717"/>
            <a:ext cx="2384888" cy="192237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ребования к Банковскому платежному агент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5</a:t>
            </a:fld>
            <a:endParaRPr lang="ru-RU"/>
          </a:p>
        </p:txBody>
      </p:sp>
      <p:grpSp>
        <p:nvGrpSpPr>
          <p:cNvPr id="29" name="Группа 28"/>
          <p:cNvGrpSpPr/>
          <p:nvPr/>
        </p:nvGrpSpPr>
        <p:grpSpPr>
          <a:xfrm>
            <a:off x="611560" y="1385203"/>
            <a:ext cx="7947650" cy="3071929"/>
            <a:chOff x="411539" y="1507185"/>
            <a:chExt cx="6845435" cy="26069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444615" y="2764401"/>
              <a:ext cx="6588563" cy="2350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lang="ru-RU" altLang="de-DE" dirty="0">
                  <a:solidFill>
                    <a:srgbClr val="000000"/>
                  </a:solidFill>
                </a:rPr>
                <a:t>Кассовое оборудование </a:t>
              </a:r>
              <a:r>
                <a:rPr lang="ru-RU" altLang="de-DE" dirty="0" err="1">
                  <a:solidFill>
                    <a:srgbClr val="000000"/>
                  </a:solidFill>
                </a:rPr>
                <a:t>Эвотор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411539" y="1507185"/>
              <a:ext cx="6483600" cy="2350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algn="l" defTabSz="330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kumimoji="0" lang="ru-RU" altLang="de-DE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Форма налогообложения предприятия: УСН</a:t>
              </a:r>
              <a:endParaRPr kumimoji="0" lang="en-US" alt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431707" y="2320652"/>
              <a:ext cx="3440510" cy="23451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indent="-285750" defTabSz="330200">
                <a:buFont typeface="Arial" panose="020B0604020202020204" pitchFamily="34" charset="0"/>
                <a:buChar char="•"/>
                <a:tabLst>
                  <a:tab pos="8521700" algn="r"/>
                </a:tabLst>
              </a:pPr>
              <a:r>
                <a:rPr lang="ru-RU" altLang="de-DE" dirty="0">
                  <a:solidFill>
                    <a:srgbClr val="000000"/>
                  </a:solidFill>
                </a:rPr>
                <a:t>Наличие эквайринга в Сбербанке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6"/>
            <p:cNvSpPr>
              <a:spLocks noChangeArrowheads="1"/>
            </p:cNvSpPr>
            <p:nvPr/>
          </p:nvSpPr>
          <p:spPr bwMode="auto">
            <a:xfrm>
              <a:off x="411539" y="1881860"/>
              <a:ext cx="6845435" cy="26382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indent="-285750" defTabSz="330200">
                <a:buFont typeface="Arial" panose="020B0604020202020204" pitchFamily="34" charset="0"/>
                <a:buChar char="•"/>
                <a:tabLst>
                  <a:tab pos="8521700" algn="r"/>
                </a:tabLst>
              </a:pPr>
              <a:r>
                <a:rPr lang="ru-RU" altLang="de-DE" dirty="0">
                  <a:solidFill>
                    <a:srgbClr val="000000"/>
                  </a:solidFill>
                </a:rPr>
                <a:t>Наличие расчётного счета в Сбербанке/открыть расчетный счет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23" name="Rectangle 16"/>
            <p:cNvSpPr>
              <a:spLocks noChangeArrowheads="1"/>
            </p:cNvSpPr>
            <p:nvPr/>
          </p:nvSpPr>
          <p:spPr bwMode="auto">
            <a:xfrm>
              <a:off x="448069" y="3173878"/>
              <a:ext cx="6588563" cy="94030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lang="ru-RU" altLang="de-DE" dirty="0">
                  <a:solidFill>
                    <a:srgbClr val="000000"/>
                  </a:solidFill>
                </a:rPr>
                <a:t>Устойчивая связь / Интернет сигнал не менее 128 кб/с для выдачи наличных, не менее 1</a:t>
              </a:r>
              <a:r>
                <a:rPr lang="ru-RU" dirty="0"/>
                <a:t>.0 </a:t>
              </a:r>
              <a:r>
                <a:rPr lang="ru-RU" dirty="0" err="1"/>
                <a:t>мб</a:t>
              </a:r>
              <a:r>
                <a:rPr lang="ru-RU" dirty="0"/>
                <a:t>/с минимальная, 1.5мб/с </a:t>
              </a:r>
              <a:r>
                <a:rPr lang="ru-RU" dirty="0" err="1"/>
                <a:t>рекомендуеиая</a:t>
              </a:r>
              <a:r>
                <a:rPr lang="ru-RU" dirty="0"/>
                <a:t> для приема платежей </a:t>
              </a:r>
              <a:endParaRPr lang="ru-RU" altLang="de-DE" dirty="0">
                <a:solidFill>
                  <a:srgbClr val="000000"/>
                </a:solidFill>
              </a:endParaRPr>
            </a:p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64032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23085"/>
            <a:ext cx="6752044" cy="1024783"/>
          </a:xfrm>
        </p:spPr>
        <p:txBody>
          <a:bodyPr/>
          <a:lstStyle/>
          <a:p>
            <a:r>
              <a:rPr lang="ru-RU" dirty="0"/>
              <a:t>Как стать Банковским платежным агенто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6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903834" y="1420416"/>
            <a:ext cx="74168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1.</a:t>
            </a: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Проверить режим налогообложения  (возможно только для УСН,ОСН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99592" y="2212504"/>
            <a:ext cx="7416824" cy="1992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2. Подключить РКО и </a:t>
            </a:r>
            <a:r>
              <a:rPr lang="ru-RU" b="1" dirty="0" err="1">
                <a:solidFill>
                  <a:schemeClr val="bg1">
                    <a:lumMod val="50000"/>
                  </a:schemeClr>
                </a:solidFill>
              </a:rPr>
              <a:t>Эквайринг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 ПАО Сбербанк </a:t>
            </a:r>
          </a:p>
          <a:p>
            <a:endParaRPr lang="ru-RU" sz="110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3. Подписать договор Банковского платежного агента</a:t>
            </a:r>
          </a:p>
          <a:p>
            <a:endParaRPr lang="ru-RU" sz="105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4. Получить ОКВЭД № 6619 (налоговая/личный кабинет 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on-line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endParaRPr lang="ru-RU" sz="105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5. Зарегистрировать </a:t>
            </a:r>
            <a:r>
              <a:rPr lang="ru-RU" b="1" dirty="0" err="1">
                <a:solidFill>
                  <a:schemeClr val="bg1">
                    <a:lumMod val="50000"/>
                  </a:schemeClr>
                </a:solidFill>
              </a:rPr>
              <a:t>Эвотор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 в ФНС </a:t>
            </a:r>
          </a:p>
          <a:p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- в случае аренды у Банка регистрацию проводит банковский специалист</a:t>
            </a: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1283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/>
              <a:t>Описание услуги «Выдача наличных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7</a:t>
            </a:fld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2013548" y="1780456"/>
            <a:ext cx="7075647" cy="256224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лимит снятия наличных денежных средств  в сутки  – 5 000 рублей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обслуживание банковских карт, эмитированных ПАО Сбербанк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валюта выдачи – рубли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операции выдачи наличных кратны 100 рублям; 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минимальная сумма выдачи 100 рублей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проведение операции через POS-терминал контактным способом с обязательным вводом PIN-кода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оплата услуг ЖКХ при </a:t>
            </a:r>
            <a:r>
              <a:rPr lang="ru-RU" sz="1400"/>
              <a:t>предъявлении квитанции </a:t>
            </a:r>
            <a:endParaRPr lang="en-US"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03" y="1225858"/>
            <a:ext cx="1493305" cy="362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3417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/>
              <a:t>Описание услуги «Прием платежей»</a:t>
            </a:r>
          </a:p>
        </p:txBody>
      </p:sp>
      <p:pic>
        <p:nvPicPr>
          <p:cNvPr id="7" name="Picture 6" descr="Picture 6">
            <a:extLst>
              <a:ext uri="{FF2B5EF4-FFF2-40B4-BE49-F238E27FC236}">
                <a16:creationId xmlns:a16="http://schemas.microsoft.com/office/drawing/2014/main" id="{03E78533-7E90-DD4D-A77A-BAAEFC7EEB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3529" y="1564432"/>
            <a:ext cx="2733786" cy="299254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8</a:t>
            </a:fld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3203848" y="1189022"/>
            <a:ext cx="5472608" cy="379334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Для приемы платежей на он-</a:t>
            </a:r>
            <a:r>
              <a:rPr lang="ru-RU" sz="1400" dirty="0" err="1"/>
              <a:t>лайн</a:t>
            </a:r>
            <a:r>
              <a:rPr lang="ru-RU" sz="1400" dirty="0"/>
              <a:t> кассе магазина должно быть установлено приложение Банка «Мои платежи»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Прием платежей возможен как с использованием сканера </a:t>
            </a:r>
            <a:r>
              <a:rPr lang="ru-RU" sz="1400" dirty="0" err="1"/>
              <a:t>штрихкода</a:t>
            </a:r>
            <a:r>
              <a:rPr lang="ru-RU" sz="1400" dirty="0"/>
              <a:t> (2</a:t>
            </a:r>
            <a:r>
              <a:rPr lang="en-US" sz="1400" dirty="0"/>
              <a:t>d </a:t>
            </a:r>
            <a:r>
              <a:rPr lang="ru-RU" sz="1400" dirty="0"/>
              <a:t>сканер), так и с ручным вводом реквизитов с квитанции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Для подтверждения платежа (и суммы комиссии при наличии) клиент подписывает Распоряжение (печатается на он-</a:t>
            </a:r>
            <a:r>
              <a:rPr lang="ru-RU" sz="1400" dirty="0" err="1"/>
              <a:t>лайн</a:t>
            </a:r>
            <a:r>
              <a:rPr lang="ru-RU" sz="1400" dirty="0"/>
              <a:t> кассе)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Оплата возможна с  банковских карт любых банков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Валюта операции – рубли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Комиссия банка равна комиссии в офисе Банка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В подтверждение факта приема платежа клиенту выдается чек </a:t>
            </a:r>
          </a:p>
        </p:txBody>
      </p:sp>
    </p:spTree>
    <p:extLst>
      <p:ext uri="{BB962C8B-B14F-4D97-AF65-F5344CB8AC3E}">
        <p14:creationId xmlns:p14="http://schemas.microsoft.com/office/powerpoint/2010/main" val="37662823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3.87559000000000030000E+000&quot;&gt;&lt;m_msothmcolidx val=&quot;0&quot;/&gt;&lt;m_rgb r=&quot;06&quot; g=&quot;06&quot; b=&quot;E1&quot;/&gt;&lt;m_nBrightness val=&quot;0&quot;/&gt;&lt;/elem&gt;&lt;elem m_fUsage=&quot;8.10000000000000050000E-001&quot;&gt;&lt;m_msothmcolidx val=&quot;0&quot;/&gt;&lt;m_rgb r=&quot;0B&quot; g=&quot;59&quot; b=&quot;2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Главный слайд">
  <a:themeElements>
    <a:clrScheme name="Custom 7">
      <a:dk1>
        <a:srgbClr val="000000"/>
      </a:dk1>
      <a:lt1>
        <a:sysClr val="window" lastClr="FFFFFF"/>
      </a:lt1>
      <a:dk2>
        <a:srgbClr val="95C23F"/>
      </a:dk2>
      <a:lt2>
        <a:srgbClr val="EEECE1"/>
      </a:lt2>
      <a:accent1>
        <a:srgbClr val="0B592A"/>
      </a:accent1>
      <a:accent2>
        <a:srgbClr val="328263"/>
      </a:accent2>
      <a:accent3>
        <a:srgbClr val="FF6600"/>
      </a:accent3>
      <a:accent4>
        <a:srgbClr val="C6DE27"/>
      </a:accent4>
      <a:accent5>
        <a:srgbClr val="17AF38"/>
      </a:accent5>
      <a:accent6>
        <a:srgbClr val="FFAE18"/>
      </a:accent6>
      <a:hlink>
        <a:srgbClr val="0B592A"/>
      </a:hlink>
      <a:folHlink>
        <a:srgbClr val="17AF38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473</TotalTime>
  <Words>518</Words>
  <Application>Microsoft Office PowerPoint</Application>
  <PresentationFormat>Произвольный</PresentationFormat>
  <Paragraphs>89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5" baseType="lpstr">
      <vt:lpstr>Arial</vt:lpstr>
      <vt:lpstr>Calibri</vt:lpstr>
      <vt:lpstr>Century Schoolbook</vt:lpstr>
      <vt:lpstr>Wingdings</vt:lpstr>
      <vt:lpstr>Главный слайд</vt:lpstr>
      <vt:lpstr>sber_present_gedonizm1</vt:lpstr>
      <vt:lpstr>think-cell Slide</vt:lpstr>
      <vt:lpstr>ПРОЕКТ АГЕНТСКАЯ СЕТЬ</vt:lpstr>
      <vt:lpstr>ПРОЕКТ АГЕНТСКАЯ СЕТЬ  снятие наличных   </vt:lpstr>
      <vt:lpstr>Плюсы для участников проекта Агентская сеть</vt:lpstr>
      <vt:lpstr>Доходы и расходы Банковского платежного агента</vt:lpstr>
      <vt:lpstr>Требования к Банковскому платежному агенту</vt:lpstr>
      <vt:lpstr>Как стать Банковским платежным агентом</vt:lpstr>
      <vt:lpstr>Описание услуги «Выдача наличных»</vt:lpstr>
      <vt:lpstr>Описание услуги «Прием платежей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Цыганова Алла Алексеевна</dc:creator>
  <cp:lastModifiedBy>Елизавета Бережная</cp:lastModifiedBy>
  <cp:revision>2992</cp:revision>
  <cp:lastPrinted>2017-02-13T10:48:59Z</cp:lastPrinted>
  <dcterms:created xsi:type="dcterms:W3CDTF">2014-10-09T11:20:04Z</dcterms:created>
  <dcterms:modified xsi:type="dcterms:W3CDTF">2021-05-14T06:41:34Z</dcterms:modified>
</cp:coreProperties>
</file>